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1234" r:id="rId3"/>
    <p:sldId id="1235" r:id="rId4"/>
    <p:sldId id="1236" r:id="rId5"/>
    <p:sldId id="1237" r:id="rId6"/>
    <p:sldId id="1239" r:id="rId7"/>
    <p:sldId id="1240" r:id="rId8"/>
    <p:sldId id="1241" r:id="rId9"/>
    <p:sldId id="1242" r:id="rId10"/>
    <p:sldId id="1243" r:id="rId11"/>
    <p:sldId id="1244" r:id="rId12"/>
    <p:sldId id="1245" r:id="rId13"/>
    <p:sldId id="1246" r:id="rId14"/>
    <p:sldId id="1247" r:id="rId15"/>
    <p:sldId id="1248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0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55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532107D-5130-851B-678D-5E144BC68B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B848DAF-4253-DA6F-D4B2-542BD94FDF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6AFCA1E-16D3-F004-1829-1779AA329D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6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77007B8-88C2-8F32-2B39-517DB33921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CD094A9-597C-8D7D-1652-C0299D8B9E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2977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A81D320-DDB8-C239-8D4E-A14DB3818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E3D372F1-70D8-FC9B-458C-B20FAF346E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FD88D24-5317-F743-7E8D-CDB796B0F9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6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872CC70-5B1D-DF04-B9D3-1BF72096C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E52B389-B076-74D8-EF9C-25DDB0EDF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9399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CAF183C7-8DF0-C6A8-D18B-332C7C7EF1B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A3B02868-5ECA-0234-0EF9-A2F0D19060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61675A3-AA7B-744E-5764-CA3E3304A4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6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0BB9066-C30E-3875-25B8-A6FE42431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DD9E133-3FA8-ECD3-0B8C-DA1FA61A7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891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S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3C0F4D38-855B-1D4A-B111-5531291A72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12795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7772400" imgH="10058400" progId="TCLayout.ActiveDocument.1">
                  <p:embed/>
                </p:oleObj>
              </mc:Choice>
              <mc:Fallback>
                <p:oleObj name="Diapositiva think-cell" r:id="rId3" imgW="7772400" imgH="10058400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3C0F4D38-855B-1D4A-B111-5531291A7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06784294-7BB9-9848-8DC0-5B5A4882F4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6350" y="452969"/>
            <a:ext cx="7879951" cy="2391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defRPr sz="2133" b="1" i="0" cap="all" baseline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it-IT" dirty="0"/>
              <a:t>slide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768FD5E2-33AC-8847-91BB-E3A137D08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4418" y="6405034"/>
            <a:ext cx="2551173" cy="1871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933">
                <a:solidFill>
                  <a:schemeClr val="tx1"/>
                </a:solidFill>
              </a:defRPr>
            </a:lvl1pPr>
          </a:lstStyle>
          <a:p>
            <a:fld id="{ABA2C2F3-668E-8445-AF97-0721AE8CBE45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CC9F86D3-1686-3646-A552-008114A04729}"/>
              </a:ext>
            </a:extLst>
          </p:cNvPr>
          <p:cNvSpPr/>
          <p:nvPr userDrawn="1"/>
        </p:nvSpPr>
        <p:spPr>
          <a:xfrm>
            <a:off x="8879418" y="-15680"/>
            <a:ext cx="3361265" cy="6912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11" name="Segnaposto testo 6">
            <a:extLst>
              <a:ext uri="{FF2B5EF4-FFF2-40B4-BE49-F238E27FC236}">
                <a16:creationId xmlns:a16="http://schemas.microsoft.com/office/drawing/2014/main" id="{333BF6E0-891A-CD42-8242-A1B1C34D06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64651" y="4232937"/>
            <a:ext cx="2302933" cy="18048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dirty="0"/>
              <a:t>Ut </a:t>
            </a:r>
            <a:r>
              <a:rPr lang="it-IT" dirty="0" err="1"/>
              <a:t>enim</a:t>
            </a:r>
            <a:r>
              <a:rPr lang="it-IT" dirty="0"/>
              <a:t> ad </a:t>
            </a:r>
            <a:r>
              <a:rPr lang="it-IT" dirty="0" err="1"/>
              <a:t>minim</a:t>
            </a:r>
            <a:r>
              <a:rPr lang="it-IT" dirty="0"/>
              <a:t> </a:t>
            </a:r>
            <a:r>
              <a:rPr lang="it-IT" dirty="0" err="1"/>
              <a:t>veniam</a:t>
            </a:r>
            <a:r>
              <a:rPr lang="it-IT" dirty="0"/>
              <a:t>, </a:t>
            </a:r>
            <a:r>
              <a:rPr lang="it-IT" dirty="0" err="1"/>
              <a:t>quis</a:t>
            </a:r>
            <a:r>
              <a:rPr lang="it-IT" dirty="0"/>
              <a:t> </a:t>
            </a:r>
            <a:r>
              <a:rPr lang="it-IT" dirty="0" err="1"/>
              <a:t>nostrud</a:t>
            </a:r>
            <a:r>
              <a:rPr lang="it-IT" dirty="0"/>
              <a:t> </a:t>
            </a:r>
            <a:r>
              <a:rPr lang="it-IT" dirty="0" err="1"/>
              <a:t>exercitation</a:t>
            </a:r>
            <a:r>
              <a:rPr lang="it-IT" dirty="0"/>
              <a:t> </a:t>
            </a:r>
            <a:r>
              <a:rPr lang="it-IT" dirty="0" err="1"/>
              <a:t>ullamco</a:t>
            </a:r>
            <a:r>
              <a:rPr lang="it-IT" dirty="0"/>
              <a:t> </a:t>
            </a:r>
            <a:r>
              <a:rPr lang="it-IT" dirty="0" err="1"/>
              <a:t>laboris</a:t>
            </a:r>
            <a:r>
              <a:rPr lang="it-IT" dirty="0"/>
              <a:t> </a:t>
            </a:r>
            <a:r>
              <a:rPr lang="it-IT" dirty="0" err="1"/>
              <a:t>nisi</a:t>
            </a:r>
            <a:r>
              <a:rPr lang="it-IT" dirty="0"/>
              <a:t> ut </a:t>
            </a:r>
            <a:r>
              <a:rPr lang="it-IT" dirty="0" err="1"/>
              <a:t>aliquip</a:t>
            </a:r>
            <a:r>
              <a:rPr lang="it-IT" dirty="0"/>
              <a:t> ex ea </a:t>
            </a:r>
            <a:r>
              <a:rPr lang="it-IT" dirty="0" err="1"/>
              <a:t>commodo</a:t>
            </a:r>
            <a:r>
              <a:rPr lang="it-IT" dirty="0"/>
              <a:t> </a:t>
            </a:r>
            <a:r>
              <a:rPr lang="it-IT" dirty="0" err="1"/>
              <a:t>consequat</a:t>
            </a:r>
            <a:r>
              <a:rPr lang="it-IT" dirty="0"/>
              <a:t>. </a:t>
            </a:r>
            <a:r>
              <a:rPr lang="it-IT" dirty="0" err="1"/>
              <a:t>Duis</a:t>
            </a:r>
            <a:r>
              <a:rPr lang="it-IT" dirty="0"/>
              <a:t> </a:t>
            </a:r>
            <a:r>
              <a:rPr lang="it-IT" dirty="0" err="1"/>
              <a:t>aute</a:t>
            </a:r>
            <a:r>
              <a:rPr lang="it-IT" dirty="0"/>
              <a:t> </a:t>
            </a:r>
            <a:r>
              <a:rPr lang="it-IT" dirty="0" err="1"/>
              <a:t>irure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in </a:t>
            </a:r>
            <a:r>
              <a:rPr lang="it-IT" dirty="0" err="1"/>
              <a:t>reprehenderit</a:t>
            </a:r>
            <a:r>
              <a:rPr lang="it-IT" dirty="0"/>
              <a:t> in </a:t>
            </a:r>
            <a:r>
              <a:rPr lang="it-IT" dirty="0" err="1"/>
              <a:t>voluptate</a:t>
            </a:r>
            <a:r>
              <a:rPr lang="it-IT" dirty="0"/>
              <a:t> </a:t>
            </a:r>
            <a:r>
              <a:rPr lang="it-IT" dirty="0" err="1"/>
              <a:t>velit</a:t>
            </a:r>
            <a:r>
              <a:rPr lang="it-IT" dirty="0"/>
              <a:t> esse </a:t>
            </a:r>
            <a:r>
              <a:rPr lang="it-IT" dirty="0" err="1"/>
              <a:t>cillum</a:t>
            </a:r>
            <a:r>
              <a:rPr lang="it-IT" dirty="0"/>
              <a:t> dolore </a:t>
            </a:r>
            <a:r>
              <a:rPr lang="it-IT" dirty="0" err="1"/>
              <a:t>eu</a:t>
            </a:r>
            <a:r>
              <a:rPr lang="it-IT" dirty="0"/>
              <a:t> </a:t>
            </a:r>
            <a:r>
              <a:rPr lang="it-IT" dirty="0" err="1"/>
              <a:t>fugiat</a:t>
            </a:r>
            <a:r>
              <a:rPr lang="it-IT" dirty="0"/>
              <a:t> nulla </a:t>
            </a:r>
            <a:r>
              <a:rPr lang="it-IT" dirty="0" err="1"/>
              <a:t>pariatur</a:t>
            </a:r>
            <a:r>
              <a:rPr lang="it-IT" dirty="0"/>
              <a:t>. </a:t>
            </a:r>
            <a:r>
              <a:rPr lang="it-IT" dirty="0" err="1"/>
              <a:t>Excepteur</a:t>
            </a:r>
            <a:r>
              <a:rPr lang="it-IT" dirty="0"/>
              <a:t> </a:t>
            </a:r>
            <a:r>
              <a:rPr lang="it-IT" dirty="0" err="1"/>
              <a:t>sint</a:t>
            </a:r>
            <a:r>
              <a:rPr lang="it-IT" dirty="0"/>
              <a:t> </a:t>
            </a:r>
            <a:r>
              <a:rPr lang="it-IT" dirty="0" err="1"/>
              <a:t>occaecat</a:t>
            </a:r>
            <a:r>
              <a:rPr lang="it-IT" dirty="0"/>
              <a:t> </a:t>
            </a:r>
            <a:r>
              <a:rPr lang="it-IT" dirty="0" err="1"/>
              <a:t>cupidatat</a:t>
            </a:r>
            <a:r>
              <a:rPr lang="it-IT" dirty="0"/>
              <a:t> non </a:t>
            </a:r>
            <a:r>
              <a:rPr lang="it-IT" dirty="0" err="1"/>
              <a:t>proident</a:t>
            </a:r>
            <a:r>
              <a:rPr lang="it-IT" dirty="0"/>
              <a:t>, </a:t>
            </a:r>
            <a:r>
              <a:rPr lang="it-IT" dirty="0" err="1"/>
              <a:t>sunt</a:t>
            </a:r>
            <a:r>
              <a:rPr lang="it-IT" dirty="0"/>
              <a:t> in culpa qui officia </a:t>
            </a:r>
            <a:r>
              <a:rPr lang="it-IT" dirty="0" err="1"/>
              <a:t>deserunt</a:t>
            </a:r>
            <a:r>
              <a:rPr lang="it-IT" dirty="0"/>
              <a:t> </a:t>
            </a:r>
            <a:r>
              <a:rPr lang="it-IT" dirty="0" err="1"/>
              <a:t>mollit</a:t>
            </a:r>
            <a:r>
              <a:rPr lang="it-IT" dirty="0"/>
              <a:t> </a:t>
            </a:r>
            <a:r>
              <a:rPr lang="it-IT" dirty="0" err="1"/>
              <a:t>anim</a:t>
            </a:r>
            <a:r>
              <a:rPr lang="it-IT" dirty="0"/>
              <a:t> id est </a:t>
            </a:r>
            <a:r>
              <a:rPr lang="it-IT" dirty="0" err="1"/>
              <a:t>laborum</a:t>
            </a:r>
            <a:endParaRPr lang="it-IT" dirty="0"/>
          </a:p>
        </p:txBody>
      </p:sp>
      <p:sp>
        <p:nvSpPr>
          <p:cNvPr id="12" name="Segnaposto testo 6">
            <a:extLst>
              <a:ext uri="{FF2B5EF4-FFF2-40B4-BE49-F238E27FC236}">
                <a16:creationId xmlns:a16="http://schemas.microsoft.com/office/drawing/2014/main" id="{EB77F90F-C9F3-724A-8893-300BC069D38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64651" y="3888529"/>
            <a:ext cx="2302933" cy="1677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dirty="0"/>
              <a:t>NOTE</a:t>
            </a:r>
          </a:p>
        </p:txBody>
      </p:sp>
      <p:pic>
        <p:nvPicPr>
          <p:cNvPr id="9" name="Spark Reply - RUNNING MAN_Black RGB copy.png" descr="Spark Reply - RUNNING MAN_Black RGB copy.png">
            <a:extLst>
              <a:ext uri="{FF2B5EF4-FFF2-40B4-BE49-F238E27FC236}">
                <a16:creationId xmlns:a16="http://schemas.microsoft.com/office/drawing/2014/main" id="{B68A7A11-41D0-D441-A7F5-DC0D27C3038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28164" y="6359184"/>
            <a:ext cx="317501" cy="317501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Segnaposto testo 6">
            <a:extLst>
              <a:ext uri="{FF2B5EF4-FFF2-40B4-BE49-F238E27FC236}">
                <a16:creationId xmlns:a16="http://schemas.microsoft.com/office/drawing/2014/main" id="{B344E06A-07E1-A842-9763-1FAE92D4661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37852" y="6435729"/>
            <a:ext cx="4725305" cy="88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667"/>
            </a:lvl1pPr>
          </a:lstStyle>
          <a:p>
            <a:r>
              <a:rPr lang="it-IT" dirty="0" err="1"/>
              <a:t>Proprietary</a:t>
            </a:r>
            <a:r>
              <a:rPr lang="it-IT" dirty="0"/>
              <a:t> &amp; </a:t>
            </a:r>
            <a:r>
              <a:rPr lang="it-IT" dirty="0" err="1"/>
              <a:t>Confidential</a:t>
            </a:r>
            <a:endParaRPr lang="it-IT" dirty="0"/>
          </a:p>
        </p:txBody>
      </p:sp>
      <p:sp>
        <p:nvSpPr>
          <p:cNvPr id="13" name="Segnaposto testo 6">
            <a:extLst>
              <a:ext uri="{FF2B5EF4-FFF2-40B4-BE49-F238E27FC236}">
                <a16:creationId xmlns:a16="http://schemas.microsoft.com/office/drawing/2014/main" id="{932AF83B-3567-8E4B-9CE5-F476A08D2C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417" y="820565"/>
            <a:ext cx="7871883" cy="1723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67">
                <a:solidFill>
                  <a:schemeClr val="bg2"/>
                </a:solidFill>
              </a:defRPr>
            </a:lvl1pPr>
          </a:lstStyle>
          <a:p>
            <a:r>
              <a:rPr lang="it-IT" dirty="0" err="1"/>
              <a:t>Sub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89507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7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6618950-E2E1-2997-F087-4C1D7940D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E3E948D-DE52-544A-D52C-B08A35E3C8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4B03F1F-91F9-A2AE-6C42-B31B87B820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6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B62FB37-9DEA-EEF4-2F74-6E1CA5115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53285D7-847F-1AB0-03FC-AF6D4C20E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244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A513E58-259F-07E7-2439-70E3ABC1D1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A2C47DD-64BE-7E5A-B767-B9EB662F71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DF7B4C1-441A-EC22-68F3-1C14299931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6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902DAAB-E1C4-1BF2-98EC-8CE895C7D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9BEF8A9-2BBA-966E-27C9-962791829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2796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A6F1736-AAAF-2DD6-CF7F-9EBE6D54D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9F06D23-184C-2F64-97A1-272EC5A2BF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4D31DAE1-B90D-23EE-B51A-F7BA96A1F0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87399866-4689-D881-E6FD-849BBC06A2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6/2022</a:t>
            </a:fld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12253CE7-A8A0-4368-2E5C-18AFEF2C4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2E3EED9-3191-46FF-24A2-EA37F6342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442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12A3E1F-D87E-1752-ACE4-E1E9F21649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CBBEAE4E-A92E-39DC-1A4C-EBCAFF13BC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53972479-F6A9-C450-D4FB-2B64C506E4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8E83804B-B7CD-35D6-AEBF-02D71E39B5E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4ECCC231-1478-C83D-0517-4F498FF0E6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7B17D536-5FB0-720B-4A49-7CC777F728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6/2022</a:t>
            </a:fld>
            <a:endParaRPr lang="en-US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3E607F37-C589-2DE3-C681-17B3AEC49A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0F659134-DE0F-E58F-50B0-C235176374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9518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0CCEAAC-9650-CAC6-089C-33F09AF42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6FED0083-49A1-F20A-43FF-71EA47093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6/2022</a:t>
            </a:fld>
            <a:endParaRPr lang="en-US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BC2AD5F8-BD68-F075-35C7-7CB2C2D978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CCF43A3-B30A-70B8-F666-E18D64161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5583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F05A5E6-0565-BAB3-3A56-7440AAF3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6/2022</a:t>
            </a:fld>
            <a:endParaRPr lang="en-US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FFAE268C-8BCC-147C-9088-6FB477D05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1E147F9-771D-D923-D315-84E12CEBE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1272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E75D19-661A-D5D0-9043-1C967F159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7EA8B1F7-0C1B-4A3D-3DBE-C4F0FE5789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6989020-BF2A-EC4B-8F0E-67B9BC5A35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5896BD1A-1549-BF7B-467E-AEA717036A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6/2022</a:t>
            </a:fld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F37204E-FD89-5E5B-B6DC-A3DAA3F2A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0A188CF-BD4B-8C51-4F9B-670739CA6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546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9166DCD-36EB-3D68-2BA8-F5ACA5CE7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8FB52ADA-BC51-BDC6-C53D-EE0A95D966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89B9FEDD-2E0C-99CA-6E2E-B2728F8769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259EDB19-5DF9-4FED-C641-D054C4F80B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6/2022</a:t>
            </a:fld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2E9D7D3-6F0A-ED42-78AB-E00DC879B0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6BE5AD5-5918-C754-858E-EEB812C47E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1711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83917F79-8B58-8FE9-2B0C-6D815ADF4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83F4F26-60AE-FFE6-F212-F5E6CEDF37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E0515E8-4F75-F74A-9301-001860A651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9F530D-5A9A-4257-A34D-8935CD8FCE2A}" type="datetimeFigureOut">
              <a:rPr lang="en-US" smtClean="0"/>
              <a:t>6/26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F2019F4-9278-AEB0-F1BF-71AF411AE0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235042D-8B3B-2133-19B2-C0C0F9F183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793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62817A2-649F-A312-5E7A-A84BB7E04BF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Presentazione</a:t>
            </a:r>
            <a:br>
              <a:rPr lang="it-IT" dirty="0"/>
            </a:br>
            <a:r>
              <a:rPr lang="it-IT" dirty="0"/>
              <a:t> </a:t>
            </a:r>
            <a:r>
              <a:rPr lang="it-IT" dirty="0" err="1"/>
              <a:t>VotoFacile</a:t>
            </a:r>
            <a:endParaRPr lang="en-US" dirty="0"/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AAA0F6C-6C81-5C20-E1E6-033E4BDD963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7130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7DA532B3-6F42-3E5C-C592-A3A5CD91AF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22" y="770709"/>
            <a:ext cx="8643307" cy="5447229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CREAZIONE VOT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0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Creazione di una nuova vot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it-IT" sz="1333" u="sng" dirty="0">
              <a:solidFill>
                <a:schemeClr val="tx1"/>
              </a:solidFill>
            </a:endParaRP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335EA60E-7851-1A64-393C-0C443EBD23B2}"/>
              </a:ext>
            </a:extLst>
          </p:cNvPr>
          <p:cNvSpPr txBox="1"/>
          <p:nvPr/>
        </p:nvSpPr>
        <p:spPr>
          <a:xfrm>
            <a:off x="9108831" y="770709"/>
            <a:ext cx="299494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Se si sceglie «Referendum» come tipologia di votazione, tab candidati non sarà disponibile</a:t>
            </a:r>
          </a:p>
          <a:p>
            <a:r>
              <a:rPr lang="it-IT" dirty="0"/>
              <a:t>Ci sarà invece tab «Domanda» dove sarà possibile inserire la domanda per il referend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175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CREAZIONE VOT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1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Creazione di una nuova vot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it-IT" sz="1333" u="sng" dirty="0">
              <a:solidFill>
                <a:schemeClr val="tx1"/>
              </a:solidFill>
            </a:endParaRP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335EA60E-7851-1A64-393C-0C443EBD23B2}"/>
              </a:ext>
            </a:extLst>
          </p:cNvPr>
          <p:cNvSpPr txBox="1"/>
          <p:nvPr/>
        </p:nvSpPr>
        <p:spPr>
          <a:xfrm>
            <a:off x="9108831" y="770709"/>
            <a:ext cx="29949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Dentro la schermata «Domanda» sarà possibile inserire e salvare la domanda per il referendum.</a:t>
            </a:r>
            <a:endParaRPr lang="en-US" dirty="0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9BFEAC38-087C-4FE6-2C3A-EBAC991B62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04" y="818081"/>
            <a:ext cx="8717465" cy="550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2003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C304A05B-5025-FFA6-4A7E-1F0DAB18DC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080" y="700504"/>
            <a:ext cx="8657592" cy="5456991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REFERENDUM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2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Gestione di </a:t>
            </a:r>
            <a:r>
              <a:rPr lang="it-IT"/>
              <a:t>un referendum</a:t>
            </a:r>
            <a:endParaRPr lang="it-IT" dirty="0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911348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Una volta inserita una domanda(in caso di referendum) oppure una volta aggiunti almeno 2 candidati( in caso di votazione ordinale o categorica) sarà possibile cliccare su «Conferma»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(1) Una volta fatto click su «Conferma» la votazione passerà dallo status «Draft» allo status «Approvata»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DFEE8C88-CF02-5323-31C5-1161FF155C08}"/>
              </a:ext>
            </a:extLst>
          </p:cNvPr>
          <p:cNvSpPr/>
          <p:nvPr/>
        </p:nvSpPr>
        <p:spPr>
          <a:xfrm>
            <a:off x="1814948" y="4927338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412115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7A7D2D84-DD79-6C5F-C1E9-A8CBF40200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231" y="903269"/>
            <a:ext cx="8493369" cy="5297234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REFERENDUM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3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Gestione di </a:t>
            </a:r>
            <a:r>
              <a:rPr lang="it-IT"/>
              <a:t>un referendum</a:t>
            </a:r>
            <a:endParaRPr lang="it-IT" dirty="0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911348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Se lo status della votazione è «Approvata» oppure «Terminata» il tasto «Conferma» non sarà visualizzato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Sarà invece visibile il tasto «Termina Subito la votazione», premendo questo tasto la votazione passerà subito nello status «Terminata»</a:t>
            </a:r>
          </a:p>
          <a:p>
            <a:r>
              <a:rPr lang="it-IT" sz="1333" dirty="0">
                <a:solidFill>
                  <a:schemeClr val="tx1"/>
                </a:solidFill>
              </a:rPr>
              <a:t>Lo stesso risultato lo si può ottenere modificando la «data di fine» e cliccando su «Salva»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DFEE8C88-CF02-5323-31C5-1161FF155C08}"/>
              </a:ext>
            </a:extLst>
          </p:cNvPr>
          <p:cNvSpPr/>
          <p:nvPr/>
        </p:nvSpPr>
        <p:spPr>
          <a:xfrm>
            <a:off x="5947333" y="5954731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966229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REFERENDUM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4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Gestione di </a:t>
            </a:r>
            <a:r>
              <a:rPr lang="it-IT"/>
              <a:t>un referendum</a:t>
            </a:r>
            <a:endParaRPr lang="it-IT" dirty="0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911348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Se lo status della votazione è «Approvata» oppure «Terminata» il tasto «Conferma» non sarà visualizzato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Sarà invece visibile il tasto «Termina Subito la votazione», premendo questo tasto la votazione passerà subito nello status «Terminata»</a:t>
            </a:r>
          </a:p>
          <a:p>
            <a:pPr marL="342900" indent="-342900">
              <a:buAutoNum type="arabicParenBoth"/>
            </a:pPr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Lo stesso risultato lo si può ottenere modificando la «data di fine» e cliccando su «Salva»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DFEE8C88-CF02-5323-31C5-1161FF155C08}"/>
              </a:ext>
            </a:extLst>
          </p:cNvPr>
          <p:cNvSpPr/>
          <p:nvPr/>
        </p:nvSpPr>
        <p:spPr>
          <a:xfrm>
            <a:off x="5947333" y="5954731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839709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CE510C15-494B-3D5C-5A51-695136B92D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584" y="720433"/>
            <a:ext cx="8468847" cy="5312713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VOTAZIONE REFERENDUM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5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Gestione di </a:t>
            </a:r>
            <a:r>
              <a:rPr lang="it-IT"/>
              <a:t>un referendum</a:t>
            </a:r>
            <a:endParaRPr lang="it-IT" dirty="0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911348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Questa è la schermata in cui si potrà votare per un referendum.</a:t>
            </a:r>
          </a:p>
          <a:p>
            <a:r>
              <a:rPr lang="it-IT" sz="1333" dirty="0">
                <a:solidFill>
                  <a:schemeClr val="tx1"/>
                </a:solidFill>
              </a:rPr>
              <a:t>Viene mostrato il nome del referendum e la domanda.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Sarà possibile selezionare «Si» o «No»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conferma» la preferenza di voto sarà registrata</a:t>
            </a:r>
          </a:p>
          <a:p>
            <a:pPr marL="342900" indent="-342900">
              <a:buAutoNum type="arabicParenBoth"/>
            </a:pPr>
            <a:endParaRPr lang="it-IT" sz="1333" dirty="0">
              <a:solidFill>
                <a:schemeClr val="tx1"/>
              </a:solidFill>
            </a:endParaRPr>
          </a:p>
          <a:p>
            <a:endParaRPr lang="it-IT" sz="1333" u="sng" dirty="0">
              <a:solidFill>
                <a:schemeClr val="tx1"/>
              </a:solidFill>
            </a:endParaRP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DFEE8C88-CF02-5323-31C5-1161FF155C08}"/>
              </a:ext>
            </a:extLst>
          </p:cNvPr>
          <p:cNvSpPr/>
          <p:nvPr/>
        </p:nvSpPr>
        <p:spPr>
          <a:xfrm>
            <a:off x="2898535" y="5163424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4346920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A01C7B84-7725-E215-EF42-A97290D145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279" y="1001767"/>
            <a:ext cx="8486346" cy="5304819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Log-in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2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Home page –Menù di log-in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rgbClr val="000000"/>
                </a:solidFill>
              </a:rPr>
              <a:t>L’home page (HP) viene strutturata con una interfaccia composta da due sezioni.</a:t>
            </a:r>
          </a:p>
          <a:p>
            <a:r>
              <a:rPr lang="it-IT" sz="1333" dirty="0">
                <a:solidFill>
                  <a:srgbClr val="000000"/>
                </a:solidFill>
              </a:rPr>
              <a:t>Nella sezione a sinistra si può fare il log-in e si può procedere alla votazione.</a:t>
            </a:r>
          </a:p>
          <a:p>
            <a:r>
              <a:rPr lang="it-IT" sz="1333" dirty="0">
                <a:solidFill>
                  <a:srgbClr val="000000"/>
                </a:solidFill>
              </a:rPr>
              <a:t>Nella sezione a destra si può votare per votazioni già create</a:t>
            </a:r>
          </a:p>
          <a:p>
            <a:endParaRPr lang="it-IT" sz="1333" dirty="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1) compilando i campi «Indirizzo email» e «password» e successivamente cliccando su «LOGIN» l’utente verrà portato nella schermata di creazione delle votazioni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2) Cliccando su «</a:t>
            </a:r>
            <a:r>
              <a:rPr lang="it-IT" sz="1333" dirty="0" err="1">
                <a:solidFill>
                  <a:schemeClr val="tx1"/>
                </a:solidFill>
              </a:rPr>
              <a:t>Register</a:t>
            </a:r>
            <a:r>
              <a:rPr lang="it-IT" sz="1333" dirty="0">
                <a:solidFill>
                  <a:schemeClr val="tx1"/>
                </a:solidFill>
              </a:rPr>
              <a:t>» l’utente atterrerà su una nuova schermata dove potrà completare la registrazione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3) Una volta inseriti i propri dati e l’id della votazione per la quale si desidera votare cliccando su «Vota» si verrà portati in una pagina dedicata al voto  </a:t>
            </a:r>
            <a:br>
              <a:rPr lang="it-IT" sz="1333" dirty="0">
                <a:solidFill>
                  <a:schemeClr val="tx1"/>
                </a:solidFill>
              </a:rPr>
            </a:br>
            <a:r>
              <a:rPr lang="it-IT" sz="1000" b="1" dirty="0">
                <a:solidFill>
                  <a:schemeClr val="tx1"/>
                </a:solidFill>
              </a:rPr>
              <a:t>SI POTRA’ VOTARE SOLO SE SI E’ Già REGISTRATI</a:t>
            </a:r>
          </a:p>
          <a:p>
            <a:endParaRPr lang="it-IT" sz="1333" u="sng" dirty="0">
              <a:solidFill>
                <a:schemeClr val="tx1"/>
              </a:solidFill>
            </a:endParaRP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1087414" y="5054022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1183414" y="5482983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3AABF333-DE29-3D66-3BE7-66041E7789BC}"/>
              </a:ext>
            </a:extLst>
          </p:cNvPr>
          <p:cNvSpPr/>
          <p:nvPr/>
        </p:nvSpPr>
        <p:spPr>
          <a:xfrm>
            <a:off x="4479452" y="5050605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3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218884" y="6314873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8926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magine 16">
            <a:extLst>
              <a:ext uri="{FF2B5EF4-FFF2-40B4-BE49-F238E27FC236}">
                <a16:creationId xmlns:a16="http://schemas.microsoft.com/office/drawing/2014/main" id="{2B417D4C-2963-1F2B-5E3F-BCECDACC8C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1" y="820953"/>
            <a:ext cx="7973471" cy="4997818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 err="1"/>
              <a:t>rEGISTR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3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Schermata di registr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rgbClr val="000000"/>
                </a:solidFill>
              </a:rPr>
              <a:t>Una volta fatto click su «Log-in» nella slide precedente, si arriva sulla schermata di registrazione.</a:t>
            </a:r>
          </a:p>
          <a:p>
            <a:endParaRPr lang="it-IT" sz="1333" dirty="0">
              <a:solidFill>
                <a:srgbClr val="000000"/>
              </a:solidFill>
            </a:endParaRPr>
          </a:p>
          <a:p>
            <a:r>
              <a:rPr lang="it-IT" sz="1333" dirty="0">
                <a:solidFill>
                  <a:srgbClr val="000000"/>
                </a:solidFill>
              </a:rPr>
              <a:t>In questa schermata si potrà procedere con la registrazione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1) Una volta compilati tutti i campi, cliccando su «REGISTRATI» l’utente verrà portato sulla schermata di «creazione votazione»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2) Facendo click su Log-in si verrà portati sulla schermata di Log-in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2898535" y="4974193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2391290" y="5311895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4040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13EAEDAA-F676-2281-1DE3-371A2EAC53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361" y="1001767"/>
            <a:ext cx="8092373" cy="5070785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Lista delle votazioni</a:t>
            </a:r>
            <a:br>
              <a:rPr lang="it-IT" dirty="0"/>
            </a:b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4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Lista delle votazioni creat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Una volta completato il log-in o completata la registrazione si arriva su questa schermata.</a:t>
            </a:r>
          </a:p>
          <a:p>
            <a:r>
              <a:rPr lang="it-IT" sz="1333" dirty="0">
                <a:solidFill>
                  <a:schemeClr val="tx1"/>
                </a:solidFill>
              </a:rPr>
              <a:t>Qui sarà possibile visualizzare tutte le votazioni create con questo account, sarà inoltre possibile creare una nuova votazione oppure eliminare una votazione.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Nella tabella vengono visualizz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Nome elez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Id elez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Tipologia elez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Data di inizio della votaz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Data di fine della votaz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Status attuale dell’elezione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6263058" y="1521747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7962507" y="1527518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A9B10638-0023-F52D-9BC2-0FEA8698AFD3}"/>
              </a:ext>
            </a:extLst>
          </p:cNvPr>
          <p:cNvSpPr/>
          <p:nvPr/>
        </p:nvSpPr>
        <p:spPr>
          <a:xfrm>
            <a:off x="8608661" y="2471226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3</a:t>
            </a:r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2084FE3D-0D39-E742-7D16-C284BFA5ACB8}"/>
              </a:ext>
            </a:extLst>
          </p:cNvPr>
          <p:cNvSpPr/>
          <p:nvPr/>
        </p:nvSpPr>
        <p:spPr>
          <a:xfrm>
            <a:off x="8608661" y="2961717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4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45A922BF-A76B-31CE-92D2-F64BE1EF52AD}"/>
              </a:ext>
            </a:extLst>
          </p:cNvPr>
          <p:cNvSpPr/>
          <p:nvPr/>
        </p:nvSpPr>
        <p:spPr>
          <a:xfrm>
            <a:off x="8620198" y="3452208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2402723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13EAEDAA-F676-2281-1DE3-371A2EAC53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361" y="1001767"/>
            <a:ext cx="8092373" cy="5070785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LISTA DELLE VOTAZIONI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5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Lista delle votazioni creat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1) Viene visualizzato il nome dell’account loggato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2) Facendo click su log-out si verrà riportati sulla pagina di log-in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3) Facendo click su «Nuova elezione» si verrà portati su una nuova schermata dove sarà possibile creare una nuova elezione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4) cliccando su «Scegli elezione» si verrà portati sulla schermata di gestione della votazione selezionata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5) cliccando su «cancella elezione» sarà possibile eliminare la votazione selezionata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6263058" y="1521747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7962507" y="1527518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A9B10638-0023-F52D-9BC2-0FEA8698AFD3}"/>
              </a:ext>
            </a:extLst>
          </p:cNvPr>
          <p:cNvSpPr/>
          <p:nvPr/>
        </p:nvSpPr>
        <p:spPr>
          <a:xfrm>
            <a:off x="8608661" y="2471226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3</a:t>
            </a:r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2084FE3D-0D39-E742-7D16-C284BFA5ACB8}"/>
              </a:ext>
            </a:extLst>
          </p:cNvPr>
          <p:cNvSpPr/>
          <p:nvPr/>
        </p:nvSpPr>
        <p:spPr>
          <a:xfrm>
            <a:off x="8608661" y="2961717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4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45A922BF-A76B-31CE-92D2-F64BE1EF52AD}"/>
              </a:ext>
            </a:extLst>
          </p:cNvPr>
          <p:cNvSpPr/>
          <p:nvPr/>
        </p:nvSpPr>
        <p:spPr>
          <a:xfrm>
            <a:off x="8620198" y="3452208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8376774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magine 16">
            <a:extLst>
              <a:ext uri="{FF2B5EF4-FFF2-40B4-BE49-F238E27FC236}">
                <a16:creationId xmlns:a16="http://schemas.microsoft.com/office/drawing/2014/main" id="{1668E477-A140-1E6C-225F-62FFBE28F5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400" y="1001767"/>
            <a:ext cx="7778870" cy="4928501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CREAZIONE VOT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6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Creazione di una nuova vot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Una volta fatto click su «Nuova Elezione» nella schermata precedente, si atterrerà su questa interfaccia.</a:t>
            </a:r>
          </a:p>
          <a:p>
            <a:r>
              <a:rPr lang="it-IT" sz="1333" dirty="0">
                <a:solidFill>
                  <a:schemeClr val="tx1"/>
                </a:solidFill>
              </a:rPr>
              <a:t>Qui sarà possibile creare una nuova elezione dandogli un nome, una data di inizio, una data di fine e selezionando la tipologia della votazione.</a:t>
            </a:r>
          </a:p>
          <a:p>
            <a:r>
              <a:rPr lang="it-IT" sz="1333" dirty="0">
                <a:solidFill>
                  <a:schemeClr val="tx1"/>
                </a:solidFill>
              </a:rPr>
              <a:t>Attualmente esistono 3 tipi di votazione:</a:t>
            </a:r>
          </a:p>
          <a:p>
            <a:r>
              <a:rPr lang="it-IT" sz="1333" dirty="0">
                <a:solidFill>
                  <a:schemeClr val="tx1"/>
                </a:solidFill>
              </a:rPr>
              <a:t>-Votazione Ordinale</a:t>
            </a:r>
          </a:p>
          <a:p>
            <a:r>
              <a:rPr lang="it-IT" sz="1333" dirty="0">
                <a:solidFill>
                  <a:schemeClr val="tx1"/>
                </a:solidFill>
              </a:rPr>
              <a:t>-Votazione Categorica</a:t>
            </a:r>
          </a:p>
          <a:p>
            <a:r>
              <a:rPr lang="it-IT" sz="1333" dirty="0">
                <a:solidFill>
                  <a:schemeClr val="tx1"/>
                </a:solidFill>
              </a:rPr>
              <a:t>-Referendum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1) Cliccando su «Indietro» si viene portati nella schermata precedente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2) Cliccando su «Logout» si viene portati nella schermata di «Login»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3) cliccando su «Crea» si viene portati nella schermata di gestione della votazione</a:t>
            </a:r>
          </a:p>
          <a:p>
            <a:endParaRPr lang="it-IT" sz="1333" dirty="0">
              <a:solidFill>
                <a:schemeClr val="tx1"/>
              </a:solidFill>
            </a:endParaRP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480400" y="1486003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7517030" y="1529249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A9B10638-0023-F52D-9BC2-0FEA8698AFD3}"/>
              </a:ext>
            </a:extLst>
          </p:cNvPr>
          <p:cNvSpPr/>
          <p:nvPr/>
        </p:nvSpPr>
        <p:spPr>
          <a:xfrm>
            <a:off x="3467303" y="4747234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7758024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C304A05B-5025-FFA6-4A7E-1F0DAB18DC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080" y="850024"/>
            <a:ext cx="8657592" cy="5456991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REFERENDUM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7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Gestione di </a:t>
            </a:r>
            <a:r>
              <a:rPr lang="it-IT"/>
              <a:t>un referendum</a:t>
            </a:r>
            <a:endParaRPr lang="it-IT" dirty="0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911348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Una volta creata la votazione si arriverà su questa schermata di gestione.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Verranno visualizzati i seguenti campi:</a:t>
            </a:r>
          </a:p>
          <a:p>
            <a:r>
              <a:rPr lang="it-IT" sz="1333" dirty="0">
                <a:solidFill>
                  <a:schemeClr val="tx1"/>
                </a:solidFill>
              </a:rPr>
              <a:t>Nome elezione</a:t>
            </a:r>
          </a:p>
          <a:p>
            <a:r>
              <a:rPr lang="it-IT" sz="1333" dirty="0">
                <a:solidFill>
                  <a:schemeClr val="tx1"/>
                </a:solidFill>
              </a:rPr>
              <a:t>Data e ora di inizio della votazione</a:t>
            </a:r>
          </a:p>
          <a:p>
            <a:r>
              <a:rPr lang="it-IT" sz="1333" dirty="0">
                <a:solidFill>
                  <a:schemeClr val="tx1"/>
                </a:solidFill>
              </a:rPr>
              <a:t>Data e ora di fine della votazione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Salva» si potranno modificare i parametri dell’elezione</a:t>
            </a: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Logout» si potrà tornare nella schermata di log-in</a:t>
            </a: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Indietro» si potrà tornare nella schermata di selezione della votazione</a:t>
            </a: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In questa posizione vengono mostrate alcune informazioni fondamentali:</a:t>
            </a:r>
          </a:p>
          <a:p>
            <a:r>
              <a:rPr lang="it-IT" sz="1333" dirty="0">
                <a:solidFill>
                  <a:schemeClr val="tx1"/>
                </a:solidFill>
              </a:rPr>
              <a:t>-L’id della votazione che serve per poter votare</a:t>
            </a:r>
          </a:p>
          <a:p>
            <a:r>
              <a:rPr lang="it-IT" sz="1333" dirty="0">
                <a:solidFill>
                  <a:schemeClr val="tx1"/>
                </a:solidFill>
              </a:rPr>
              <a:t>-La tipologia della votazione</a:t>
            </a:r>
          </a:p>
          <a:p>
            <a:r>
              <a:rPr lang="it-IT" sz="1333" dirty="0">
                <a:solidFill>
                  <a:schemeClr val="tx1"/>
                </a:solidFill>
              </a:rPr>
              <a:t>-L’attuale status della votazione</a:t>
            </a:r>
          </a:p>
          <a:p>
            <a:r>
              <a:rPr lang="it-IT" sz="1333" dirty="0">
                <a:solidFill>
                  <a:schemeClr val="tx1"/>
                </a:solidFill>
              </a:rPr>
              <a:t>-Se la votazione prevede l’esistenza di Candidati, verrà visualizzato anche il campo «Candidati iscritti»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4773699" y="4747234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7866507" y="1424746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A9B10638-0023-F52D-9BC2-0FEA8698AFD3}"/>
              </a:ext>
            </a:extLst>
          </p:cNvPr>
          <p:cNvSpPr/>
          <p:nvPr/>
        </p:nvSpPr>
        <p:spPr>
          <a:xfrm>
            <a:off x="2788035" y="1424746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3</a:t>
            </a:r>
          </a:p>
        </p:txBody>
      </p:sp>
      <p:sp>
        <p:nvSpPr>
          <p:cNvPr id="19" name="Ovale 18">
            <a:extLst>
              <a:ext uri="{FF2B5EF4-FFF2-40B4-BE49-F238E27FC236}">
                <a16:creationId xmlns:a16="http://schemas.microsoft.com/office/drawing/2014/main" id="{DC439CA0-27C2-DAD8-7A6D-03FD49E56CB1}"/>
              </a:ext>
            </a:extLst>
          </p:cNvPr>
          <p:cNvSpPr/>
          <p:nvPr/>
        </p:nvSpPr>
        <p:spPr>
          <a:xfrm>
            <a:off x="3496351" y="5506415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8165198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E7A3A457-BB9E-253A-6A85-C48A34A864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181" y="1096968"/>
            <a:ext cx="8085419" cy="5080966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CREAZIONE VOT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8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Creazione di una nuova vot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In questa pagina si potranno aggiungere candidati.</a:t>
            </a:r>
          </a:p>
          <a:p>
            <a:r>
              <a:rPr lang="it-IT" sz="1333" dirty="0">
                <a:solidFill>
                  <a:schemeClr val="tx1"/>
                </a:solidFill>
              </a:rPr>
              <a:t>Per aggiungere un candidato sarà sufficiente inserirne il codice fiscale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Aggiungi» verrà aggiunto il candidato in base al codice fiscale inserito.</a:t>
            </a:r>
          </a:p>
          <a:p>
            <a:r>
              <a:rPr lang="it-IT" sz="1333" dirty="0" err="1">
                <a:solidFill>
                  <a:schemeClr val="tx1"/>
                </a:solidFill>
              </a:rPr>
              <a:t>Affinchè</a:t>
            </a:r>
            <a:r>
              <a:rPr lang="it-IT" sz="1333" dirty="0">
                <a:solidFill>
                  <a:schemeClr val="tx1"/>
                </a:solidFill>
              </a:rPr>
              <a:t> possa essere aggiunto, il candidato deve essere già registrato nella piattaforma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(2) Nella seguente tabella vengono mostrati tutti i candidati aggiunti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2492080" y="3333000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4409876" y="2774574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2985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E7A3A457-BB9E-253A-6A85-C48A34A864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181" y="1096968"/>
            <a:ext cx="8085419" cy="5080966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CREAZIONE VOT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9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Creazione di una nuova vot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In questa pagina si potranno aggiungere candidati.</a:t>
            </a:r>
          </a:p>
          <a:p>
            <a:r>
              <a:rPr lang="it-IT" sz="1333" dirty="0">
                <a:solidFill>
                  <a:schemeClr val="tx1"/>
                </a:solidFill>
              </a:rPr>
              <a:t>Per aggiungere un candidato sarà sufficiente inserirne il codice fiscale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Aggiungi» verrà aggiunto il candidato in base al codice fiscale inserito.</a:t>
            </a:r>
          </a:p>
          <a:p>
            <a:r>
              <a:rPr lang="it-IT" sz="1333" dirty="0" err="1">
                <a:solidFill>
                  <a:schemeClr val="tx1"/>
                </a:solidFill>
              </a:rPr>
              <a:t>Affinchè</a:t>
            </a:r>
            <a:r>
              <a:rPr lang="it-IT" sz="1333" dirty="0">
                <a:solidFill>
                  <a:schemeClr val="tx1"/>
                </a:solidFill>
              </a:rPr>
              <a:t> possa essere aggiunto, il candidato deve essere già registrato nella piattaforma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(2) Nella seguente tabella vengono mostrati tutti i candidati aggiunti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2492080" y="3333000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4409876" y="2774574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285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0</TotalTime>
  <Words>1134</Words>
  <Application>Microsoft Office PowerPoint</Application>
  <PresentationFormat>Widescreen</PresentationFormat>
  <Paragraphs>176</Paragraphs>
  <Slides>15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5</vt:i4>
      </vt:variant>
    </vt:vector>
  </HeadingPairs>
  <TitlesOfParts>
    <vt:vector size="21" baseType="lpstr">
      <vt:lpstr>Arial</vt:lpstr>
      <vt:lpstr>Arial Black</vt:lpstr>
      <vt:lpstr>Calibri</vt:lpstr>
      <vt:lpstr>Calibri Light</vt:lpstr>
      <vt:lpstr>Tema di Office</vt:lpstr>
      <vt:lpstr>Diapositiva think-cell</vt:lpstr>
      <vt:lpstr>Presentazione  VotoFacile</vt:lpstr>
      <vt:lpstr>Log-in </vt:lpstr>
      <vt:lpstr>rEGISTRAZIONE </vt:lpstr>
      <vt:lpstr>Lista delle votazioni  </vt:lpstr>
      <vt:lpstr>LISTA DELLE VOTAZIONI </vt:lpstr>
      <vt:lpstr>CREAZIONE VOTAZIONE </vt:lpstr>
      <vt:lpstr>REFERENDUM </vt:lpstr>
      <vt:lpstr>CREAZIONE VOTAZIONE </vt:lpstr>
      <vt:lpstr>CREAZIONE VOTAZIONE </vt:lpstr>
      <vt:lpstr>CREAZIONE VOTAZIONE </vt:lpstr>
      <vt:lpstr>CREAZIONE VOTAZIONE </vt:lpstr>
      <vt:lpstr>REFERENDUM </vt:lpstr>
      <vt:lpstr>REFERENDUM </vt:lpstr>
      <vt:lpstr>REFERENDUM </vt:lpstr>
      <vt:lpstr>VOTAZIONE REFERENDUM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VotoElettronico.it</dc:title>
  <dc:creator>Luca Stoian</dc:creator>
  <cp:lastModifiedBy>Damon Bianchi</cp:lastModifiedBy>
  <cp:revision>16</cp:revision>
  <dcterms:created xsi:type="dcterms:W3CDTF">2022-06-17T09:16:53Z</dcterms:created>
  <dcterms:modified xsi:type="dcterms:W3CDTF">2022-06-26T14:16:46Z</dcterms:modified>
</cp:coreProperties>
</file>